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261" r:id="rId2"/>
    <p:sldId id="280" r:id="rId3"/>
    <p:sldId id="268" r:id="rId4"/>
    <p:sldId id="281" r:id="rId5"/>
    <p:sldId id="282" r:id="rId6"/>
    <p:sldId id="288" r:id="rId7"/>
    <p:sldId id="286" r:id="rId8"/>
    <p:sldId id="270" r:id="rId9"/>
    <p:sldId id="274" r:id="rId10"/>
    <p:sldId id="272" r:id="rId11"/>
    <p:sldId id="276" r:id="rId12"/>
    <p:sldId id="273" r:id="rId13"/>
    <p:sldId id="275" r:id="rId14"/>
    <p:sldId id="290" r:id="rId15"/>
    <p:sldId id="291" r:id="rId16"/>
    <p:sldId id="292" r:id="rId17"/>
    <p:sldId id="278" r:id="rId18"/>
    <p:sldId id="295" r:id="rId19"/>
    <p:sldId id="294" r:id="rId20"/>
    <p:sldId id="287" r:id="rId21"/>
    <p:sldId id="293" r:id="rId22"/>
    <p:sldId id="283" r:id="rId23"/>
    <p:sldId id="284" r:id="rId24"/>
    <p:sldId id="285" r:id="rId25"/>
    <p:sldId id="267" r:id="rId26"/>
  </p:sldIdLst>
  <p:sldSz cx="9144000" cy="6858000" type="screen4x3"/>
  <p:notesSz cx="6669088" cy="9872663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 autoAdjust="0"/>
    <p:restoredTop sz="91244" autoAdjust="0"/>
  </p:normalViewPr>
  <p:slideViewPr>
    <p:cSldViewPr snapToGrid="0" showGuides="1">
      <p:cViewPr varScale="1">
        <p:scale>
          <a:sx n="64" d="100"/>
          <a:sy n="64" d="100"/>
        </p:scale>
        <p:origin x="-312" y="-67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3960"/>
    </p:cViewPr>
  </p:sorterViewPr>
  <p:notesViewPr>
    <p:cSldViewPr snapToGrid="0" showGuides="1">
      <p:cViewPr varScale="1">
        <p:scale>
          <a:sx n="79" d="100"/>
          <a:sy n="79" d="100"/>
        </p:scale>
        <p:origin x="-3048" y="-90"/>
      </p:cViewPr>
      <p:guideLst>
        <p:guide orient="horz" pos="3110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08/07/2015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777607" y="9377316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</inkml:traceFormat>
        <inkml:channelProperties>
          <inkml:channelProperty channel="X" name="resolution" value="28.36041" units="1/cm"/>
          <inkml:channelProperty channel="Y" name="resolution" value="28.34646" units="1/cm"/>
        </inkml:channelProperties>
      </inkml:inkSource>
      <inkml:timestamp xml:id="ts0" timeString="2015-05-21T07:53:32.036"/>
    </inkml:context>
    <inkml:brush xml:id="br0">
      <inkml:brushProperty name="width" value="0.26667" units="cm"/>
      <inkml:brushProperty name="height" value="0.53333" units="cm"/>
      <inkml:brushProperty name="color" value="#00FFFF"/>
      <inkml:brushProperty name="tip" value="rectangle"/>
      <inkml:brushProperty name="rasterOp" value="maskPen"/>
      <inkml:brushProperty name="fitToCurve" value="1"/>
    </inkml:brush>
  </inkml:definitions>
  <inkml:trace contextRef="#ctx0" brushRef="#br0">-1 1,'28'0,"-1"0,29 0,0 0,-56 0,28 0,0 0,0 0,28 0,27 0,-27 0,0 0,-28 0,112 0,-57 28,1-28,-28 0,-28 0,0 0,0 0,-1 0,1 0,0 0,56 0,-56 0,28 29,28-29,-84 0,55 0,-27 0,28 0,84 28,-1-28,-27 0,-28 28,-29-28,1 0,0 0,0 0,0 0,0 0,-1 0,-27 0,0 0,-1 0,-27 0,56 0,0 29,0-29,27 0,-27 28,28-28,28 0,-85 0,29 0,-28 0,0 0,0 0,0 0,0 0,0 0,0 0,0 0,-28 0,27 0,57 0,0 0,0 0,55 0,-55 0,-56 0,0 0,28 0,-56 0,28 0,-28-28,55 28,-55 0,56 0,-28 0,0 0,0-29,28 29,-28 0,0 0,-1 0,1-28,-28 28,84 0,-28 0,-28 0,28 0,-28-28,0 28,-1-29,1 29,-28 0,28 0,-28 0,28 0,-28 0,28 0,0-28,-28 28,28 0,-28 0,28 0,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</inkml:traceFormat>
        <inkml:channelProperties>
          <inkml:channelProperty channel="X" name="resolution" value="28.36041" units="1/cm"/>
          <inkml:channelProperty channel="Y" name="resolution" value="28.34646" units="1/cm"/>
        </inkml:channelProperties>
      </inkml:inkSource>
      <inkml:timestamp xml:id="ts0" timeString="2015-05-21T08:15:04.178"/>
    </inkml:context>
    <inkml:brush xml:id="br0">
      <inkml:brushProperty name="width" value="0.26667" units="cm"/>
      <inkml:brushProperty name="height" value="0.53333" units="cm"/>
      <inkml:brushProperty name="color" value="#00FFFF"/>
      <inkml:brushProperty name="tip" value="rectangle"/>
      <inkml:brushProperty name="rasterOp" value="maskPen"/>
      <inkml:brushProperty name="fitToCurve" value="1"/>
    </inkml:brush>
  </inkml:definitions>
  <inkml:trace contextRef="#ctx0" brushRef="#br0">0 1,'28'0,"167"0,112 0,-83 0,-1 0,-84 0,-55 0,-28 0,0 0,28 0,-1 0,-27 0,84 0,-1 0,1 28,27-28,84 28,-55 0,27-28,-55 28,27-28,-111 0,-28 0,-1 0,1 0,-28 0,-28 0,56 0,0 0,27 0,29 0,-28 0,-56 0,83 0,-83 0,0 0,0 0,0 0,0 0,28 0,0 0,27 0,-27 0,-28 0,28 0,0 0,-28 0,0 0,-28 0,27 0,1-28,0 28,-28 0,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</inkml:traceFormat>
        <inkml:channelProperties>
          <inkml:channelProperty channel="X" name="resolution" value="28.36041" units="1/cm"/>
          <inkml:channelProperty channel="Y" name="resolution" value="28.34646" units="1/cm"/>
        </inkml:channelProperties>
      </inkml:inkSource>
      <inkml:timestamp xml:id="ts0" timeString="2015-05-21T08:15:10.016"/>
    </inkml:context>
    <inkml:brush xml:id="br0">
      <inkml:brushProperty name="width" value="0.26667" units="cm"/>
      <inkml:brushProperty name="height" value="0.53333" units="cm"/>
      <inkml:brushProperty name="color" value="#00FFFF"/>
      <inkml:brushProperty name="tip" value="rectangle"/>
      <inkml:brushProperty name="rasterOp" value="maskPen"/>
      <inkml:brushProperty name="fitToCurve" value="1"/>
    </inkml:brush>
  </inkml:definitions>
  <inkml:trace contextRef="#ctx0" brushRef="#br0">0 337,'0'0,"168"0,-29 0,29 0,-112 0,55 0,-27 0,28 0,55 0,28 0,-55 28,27-28,-55 0,84 0,-29 0,-27 0,-29 0,57-28,-29 0,1 0,55 0,28 0,-83 0,-28 28,27-27,1 27,-29-28,1 0,0 28,-29 0,57 0,-28-28,-56 0,55 28,29-28,-29 28,-55 0,28-28,0 28,-56 0,-1 0,1 0,-28 0,56 0,28 0,83 0,-55 0,0 0,83 28,-55 0,-29 0,-27 0,28-28,-29 28,-27-28,-56 0,56 0,-28 28,0-28,56 0,27 27,29-27,-1 28,-27-28,0 0,-29 0,29 0,-28 0,27 0,-27 0,-28 0,28 0,27 28,1-28,56 0,-1 0,-27 0,-29 0,-27 0,0 0,55 0,-55 0,-56 0,56 0,27 28,-55-28,-28 0,28 0,0 0,27 0,1 0,84 0,-29 0,57 28,-1-28,0 28,-27-28,-29 0,1 28,-28-28,-57 0,1 0,0 0,0 0,-28 28,56-28,55 0,1 28,-29-28,-27 0,0 0,0 0,-1 0,-27 0,0 0,-28 0,56 0,-1 0,1 0,28 0,-1 0,1 0,28 0,-1 0,1 0,27 0,-27 0,111 0,-56 0,-111 0,-28 0,0 0,55 0,57 0,-112-28,27 28,1 0,-28 0,0 0,27-28,-27 28,28-28,-28 28,0 0,-28 0,27-28,1 0,56 28,27-28,-55 28,0 0,-28 0,27 0,-27 0,-28-28,0 28,28 0,-28 0,28-28,27 28,1-27,28 27,-56 0,-1 0,-55 0,56 0,-56 0,28-28,-28 28,28 0,0 0,0-28,0 28,-28 0,28 0,-28 0,28 0,-28-28,28 28,-1 0,-27 0,28 0,-28 0,56 0,-28 0,-28 0,28 0,0 0,0 0,0 28,-28 28,28-56,0 55,-28-27,0 0,28-28,-28 0,-28 0,-56 0,-28 0,28 0,-27 28,27-28,84 28,-56-28,0 0,1 0,27 0,0 0,-56 28,84-28,-56 0,56 28,28-28,-28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7A4619-D7D6-429B-809B-C8C1DE904310}" type="datetimeFigureOut">
              <a:rPr lang="en-US" smtClean="0"/>
              <a:t>7/8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66775" y="739775"/>
            <a:ext cx="4935538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689515"/>
            <a:ext cx="533527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377316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9F7CBD-1451-4859-84B2-E2BA3400992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2659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9F7CBD-1451-4859-84B2-E2BA3400992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8027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istance education via broadcasting.</a:t>
            </a:r>
            <a:r>
              <a:rPr lang="en-US" baseline="0" dirty="0" smtClean="0"/>
              <a:t> Any communication engineer knows that one transmitter may not adapt to all different receivers. It will be too slow for some whose mind starts other processes; too fast for others who will get buffer overflow and incompatible with yet other ones.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9F7CBD-1451-4859-84B2-E2BA3400992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5531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15-07-08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Nr.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o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619250" y="982456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B51A21-31CF-411F-9CAB-AF3A8FDF3544}" type="datetime1">
              <a:rPr lang="en-GB" smtClean="0"/>
              <a:t>08/07/2015</a:t>
            </a:fld>
            <a:endParaRPr lang="en-GB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en-GB" smtClean="0"/>
              <a:t>‹Nr.›</a:t>
            </a:fld>
            <a:endParaRPr lang="en-GB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08725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700" b="1" cap="all" baseline="0"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Gunnar Karlsson</a:t>
            </a:r>
            <a:endParaRPr lang="en-GB" dirty="0"/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2057401"/>
            <a:ext cx="6935788" cy="3603624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176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5-07-08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Nr.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5-07-08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Nr.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sv-SE" smtClean="0"/>
              <a:t>Klicka på ikonen för att lägga till ett diagram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5-07-08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Nr.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5-07-08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Nr.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5-07-08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Nr.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5-07-08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Nr.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5-07-08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Nr.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Nr.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08/07/2015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  <p:sldLayoutId id="2147483679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jpg"/><Relationship Id="rId5" Type="http://schemas.openxmlformats.org/officeDocument/2006/relationships/image" Target="../media/image13.jpg"/><Relationship Id="rId4" Type="http://schemas.openxmlformats.org/officeDocument/2006/relationships/image" Target="../media/image12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ustomXml" Target="../ink/ink2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emf"/><Relationship Id="rId5" Type="http://schemas.openxmlformats.org/officeDocument/2006/relationships/customXml" Target="../ink/ink3.xml"/><Relationship Id="rId4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sv-SE" noProof="0" dirty="0" err="1" smtClean="0"/>
              <a:t>Lectures</a:t>
            </a:r>
            <a:r>
              <a:rPr lang="sv-SE" noProof="0" dirty="0" smtClean="0"/>
              <a:t> flop, so </a:t>
            </a:r>
            <a:r>
              <a:rPr lang="sv-SE" noProof="0" dirty="0" err="1" smtClean="0"/>
              <a:t>flip</a:t>
            </a:r>
            <a:r>
              <a:rPr lang="sv-SE" noProof="0" dirty="0" smtClean="0"/>
              <a:t> </a:t>
            </a:r>
            <a:br>
              <a:rPr lang="sv-SE" noProof="0" dirty="0" smtClean="0"/>
            </a:br>
            <a:r>
              <a:rPr lang="sv-SE" noProof="0" dirty="0" smtClean="0"/>
              <a:t>the </a:t>
            </a:r>
            <a:r>
              <a:rPr lang="sv-SE" noProof="0" dirty="0" err="1" smtClean="0"/>
              <a:t>classroom</a:t>
            </a:r>
            <a:endParaRPr lang="sv-SE" noProof="0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67963" y="2425959"/>
            <a:ext cx="6987075" cy="970383"/>
          </a:xfrm>
        </p:spPr>
        <p:txBody>
          <a:bodyPr>
            <a:normAutofit/>
          </a:bodyPr>
          <a:lstStyle/>
          <a:p>
            <a:r>
              <a:rPr lang="sv-SE" b="1" noProof="0" dirty="0" smtClean="0"/>
              <a:t>Gunnar Karlsson</a:t>
            </a:r>
          </a:p>
          <a:p>
            <a:r>
              <a:rPr lang="sv-SE" noProof="0" dirty="0" err="1" smtClean="0"/>
              <a:t>School</a:t>
            </a:r>
            <a:r>
              <a:rPr lang="sv-SE" noProof="0" dirty="0" smtClean="0"/>
              <a:t> </a:t>
            </a:r>
            <a:r>
              <a:rPr lang="sv-SE" noProof="0" dirty="0" err="1" smtClean="0"/>
              <a:t>of</a:t>
            </a:r>
            <a:r>
              <a:rPr lang="sv-SE" noProof="0" dirty="0" smtClean="0"/>
              <a:t> </a:t>
            </a:r>
            <a:r>
              <a:rPr lang="sv-SE" noProof="0" dirty="0" err="1" smtClean="0"/>
              <a:t>Electrical</a:t>
            </a:r>
            <a:r>
              <a:rPr lang="sv-SE" noProof="0" dirty="0" smtClean="0"/>
              <a:t> </a:t>
            </a:r>
            <a:r>
              <a:rPr lang="sv-SE" noProof="0" dirty="0" err="1" smtClean="0"/>
              <a:t>Engineering</a:t>
            </a:r>
            <a:endParaRPr lang="sv-SE" noProof="0" dirty="0" smtClean="0"/>
          </a:p>
          <a:p>
            <a:endParaRPr lang="sv-SE" noProof="0" dirty="0"/>
          </a:p>
        </p:txBody>
      </p:sp>
    </p:spTree>
    <p:extLst>
      <p:ext uri="{BB962C8B-B14F-4D97-AF65-F5344CB8AC3E}">
        <p14:creationId xmlns:p14="http://schemas.microsoft.com/office/powerpoint/2010/main" val="651496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2547771" y="3377048"/>
            <a:ext cx="1066675" cy="70026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ading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>
          <a:xfrm>
            <a:off x="1897895" y="2824752"/>
            <a:ext cx="1066675" cy="700266"/>
          </a:xfrm>
          <a:prstGeom prst="rect">
            <a:avLst/>
          </a:prstGeom>
          <a:solidFill>
            <a:srgbClr val="FFC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Quiz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343608" y="2299716"/>
            <a:ext cx="1066675" cy="70026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Video</a:t>
            </a:r>
            <a:endParaRPr lang="en-US" dirty="0"/>
          </a:p>
        </p:txBody>
      </p:sp>
      <p:cxnSp>
        <p:nvCxnSpPr>
          <p:cNvPr id="6" name="Straight Arrow Connector 5"/>
          <p:cNvCxnSpPr/>
          <p:nvPr/>
        </p:nvCxnSpPr>
        <p:spPr>
          <a:xfrm>
            <a:off x="1343608" y="5208513"/>
            <a:ext cx="6679760" cy="0"/>
          </a:xfrm>
          <a:prstGeom prst="straightConnector1">
            <a:avLst/>
          </a:prstGeom>
          <a:ln w="571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1346978" y="1976516"/>
            <a:ext cx="0" cy="316150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3685557" y="1976516"/>
            <a:ext cx="0" cy="316150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ight Brace 23"/>
          <p:cNvSpPr/>
          <p:nvPr/>
        </p:nvSpPr>
        <p:spPr>
          <a:xfrm rot="5400000">
            <a:off x="2354667" y="4200823"/>
            <a:ext cx="323197" cy="2338582"/>
          </a:xfrm>
          <a:prstGeom prst="rightBrace">
            <a:avLst>
              <a:gd name="adj1" fmla="val 8333"/>
              <a:gd name="adj2" fmla="val 50532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1881430" y="5588417"/>
            <a:ext cx="1269669" cy="2762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reparation</a:t>
            </a:r>
            <a:endParaRPr lang="en-US" dirty="0"/>
          </a:p>
        </p:txBody>
      </p:sp>
      <p:sp>
        <p:nvSpPr>
          <p:cNvPr id="33" name="Rectangle 32"/>
          <p:cNvSpPr/>
          <p:nvPr/>
        </p:nvSpPr>
        <p:spPr>
          <a:xfrm>
            <a:off x="3773937" y="2821752"/>
            <a:ext cx="1066675" cy="70026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Clarifi-cation</a:t>
            </a:r>
            <a:endParaRPr lang="en-US" dirty="0"/>
          </a:p>
        </p:txBody>
      </p:sp>
      <p:sp>
        <p:nvSpPr>
          <p:cNvPr id="34" name="Rectangle 33"/>
          <p:cNvSpPr/>
          <p:nvPr/>
        </p:nvSpPr>
        <p:spPr>
          <a:xfrm>
            <a:off x="5053947" y="2824752"/>
            <a:ext cx="1066675" cy="70026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Indepth</a:t>
            </a:r>
            <a:endParaRPr lang="en-US" dirty="0"/>
          </a:p>
        </p:txBody>
      </p:sp>
      <p:sp>
        <p:nvSpPr>
          <p:cNvPr id="35" name="Rectangle 34"/>
          <p:cNvSpPr/>
          <p:nvPr/>
        </p:nvSpPr>
        <p:spPr>
          <a:xfrm>
            <a:off x="6262845" y="2839264"/>
            <a:ext cx="1066675" cy="70026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utlook</a:t>
            </a:r>
            <a:endParaRPr lang="en-US" dirty="0"/>
          </a:p>
        </p:txBody>
      </p:sp>
      <p:cxnSp>
        <p:nvCxnSpPr>
          <p:cNvPr id="36" name="Straight Connector 35"/>
          <p:cNvCxnSpPr/>
          <p:nvPr/>
        </p:nvCxnSpPr>
        <p:spPr>
          <a:xfrm>
            <a:off x="7454475" y="1976516"/>
            <a:ext cx="0" cy="316150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ight Brace 36"/>
          <p:cNvSpPr/>
          <p:nvPr/>
        </p:nvSpPr>
        <p:spPr>
          <a:xfrm rot="5400000">
            <a:off x="5408419" y="3485654"/>
            <a:ext cx="323198" cy="3768919"/>
          </a:xfrm>
          <a:prstGeom prst="rightBrace">
            <a:avLst>
              <a:gd name="adj1" fmla="val 8333"/>
              <a:gd name="adj2" fmla="val 4769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/>
          <p:cNvSpPr txBox="1"/>
          <p:nvPr/>
        </p:nvSpPr>
        <p:spPr>
          <a:xfrm>
            <a:off x="5163660" y="5583991"/>
            <a:ext cx="847248" cy="2762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In class</a:t>
            </a:r>
            <a:endParaRPr lang="en-US" dirty="0"/>
          </a:p>
        </p:txBody>
      </p:sp>
      <p:sp>
        <p:nvSpPr>
          <p:cNvPr id="28" name="TextBox 27"/>
          <p:cNvSpPr txBox="1"/>
          <p:nvPr/>
        </p:nvSpPr>
        <p:spPr>
          <a:xfrm>
            <a:off x="7611322" y="3044290"/>
            <a:ext cx="600292" cy="2762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ym typeface="Symbol"/>
              </a:rPr>
              <a:t>  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8110662" y="5070370"/>
            <a:ext cx="641452" cy="2762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</a:t>
            </a:r>
            <a:r>
              <a:rPr lang="en-US" dirty="0" smtClean="0"/>
              <a:t>ime</a:t>
            </a:r>
            <a:endParaRPr lang="en-US" dirty="0"/>
          </a:p>
        </p:txBody>
      </p:sp>
      <p:sp>
        <p:nvSpPr>
          <p:cNvPr id="54" name="Right Brace 53"/>
          <p:cNvSpPr/>
          <p:nvPr/>
        </p:nvSpPr>
        <p:spPr>
          <a:xfrm rot="16200000">
            <a:off x="4239129" y="-1346567"/>
            <a:ext cx="323198" cy="6107498"/>
          </a:xfrm>
          <a:prstGeom prst="rightBrace">
            <a:avLst>
              <a:gd name="adj1" fmla="val 8333"/>
              <a:gd name="adj2" fmla="val 4769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Box 48"/>
          <p:cNvSpPr txBox="1"/>
          <p:nvPr/>
        </p:nvSpPr>
        <p:spPr>
          <a:xfrm>
            <a:off x="3435648" y="1134364"/>
            <a:ext cx="1743254" cy="2762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Learning modul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ing online material: Flipped classroom and </a:t>
            </a:r>
            <a:r>
              <a:rPr lang="en-US" dirty="0"/>
              <a:t>p</a:t>
            </a:r>
            <a:r>
              <a:rPr lang="en-US" dirty="0" smtClean="0"/>
              <a:t>eer instru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2623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tive learning at KT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Flipped classroom and peer instruction</a:t>
            </a: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Now used in courses in all five-year engineering progra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Positive outcomes; no teacher who has tried wants to return to old practi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Student resistance in the beginning; now they are used to active teaching and might demand it for all courses</a:t>
            </a:r>
          </a:p>
          <a:p>
            <a:r>
              <a:rPr lang="en-US" dirty="0" smtClean="0"/>
              <a:t>Voluntary effort, bottom u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Neither incentives nor pressure for teachers to chan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Peer pressure and student expectations might lead to wide-scale adop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 reward structure would be benefici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nd time to restructure and develop a cour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6151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51312" y="1470666"/>
            <a:ext cx="8641377" cy="4268008"/>
            <a:chOff x="502623" y="1897296"/>
            <a:chExt cx="8641377" cy="4268008"/>
          </a:xfrm>
        </p:grpSpPr>
        <p:sp>
          <p:nvSpPr>
            <p:cNvPr id="3" name="Rectangle 2"/>
            <p:cNvSpPr/>
            <p:nvPr/>
          </p:nvSpPr>
          <p:spPr>
            <a:xfrm>
              <a:off x="502623" y="1897296"/>
              <a:ext cx="1368152" cy="1224136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About the course</a:t>
              </a:r>
              <a:endParaRPr lang="en-US" dirty="0"/>
            </a:p>
          </p:txBody>
        </p:sp>
        <p:sp>
          <p:nvSpPr>
            <p:cNvPr id="4" name="Rectangle 3"/>
            <p:cNvSpPr/>
            <p:nvPr/>
          </p:nvSpPr>
          <p:spPr>
            <a:xfrm>
              <a:off x="2123728" y="1897296"/>
              <a:ext cx="1368152" cy="1224136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Pre-requisites</a:t>
              </a:r>
              <a:endParaRPr lang="en-US" dirty="0"/>
            </a:p>
          </p:txBody>
        </p:sp>
        <p:sp>
          <p:nvSpPr>
            <p:cNvPr id="5" name="Rectangle 4"/>
            <p:cNvSpPr/>
            <p:nvPr/>
          </p:nvSpPr>
          <p:spPr>
            <a:xfrm>
              <a:off x="3779912" y="1897296"/>
              <a:ext cx="1368152" cy="1224136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Learning module</a:t>
              </a:r>
              <a:endParaRPr lang="en-US" dirty="0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5228523" y="2324698"/>
              <a:ext cx="60785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ym typeface="Symbol"/>
                </a:rPr>
                <a:t>  </a:t>
              </a:r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5868144" y="1897296"/>
              <a:ext cx="1368152" cy="1224136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Learning module</a:t>
              </a:r>
              <a:endParaRPr lang="en-US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646639" y="3429000"/>
              <a:ext cx="1008112" cy="792088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Video</a:t>
              </a:r>
              <a:endParaRPr lang="en-US" dirty="0"/>
            </a:p>
          </p:txBody>
        </p:sp>
        <p:sp>
          <p:nvSpPr>
            <p:cNvPr id="9" name="Rectangle 8"/>
            <p:cNvSpPr/>
            <p:nvPr/>
          </p:nvSpPr>
          <p:spPr>
            <a:xfrm>
              <a:off x="646639" y="4390129"/>
              <a:ext cx="1008112" cy="792088"/>
            </a:xfrm>
            <a:prstGeom prst="rect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Quiz</a:t>
              </a:r>
              <a:endParaRPr lang="en-US" dirty="0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2303748" y="5373216"/>
              <a:ext cx="1008112" cy="79208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Self-asses-</a:t>
              </a:r>
              <a:r>
                <a:rPr lang="en-US" dirty="0" err="1" smtClean="0"/>
                <a:t>ment</a:t>
              </a:r>
              <a:endParaRPr lang="en-US" dirty="0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2303748" y="3421941"/>
              <a:ext cx="1008112" cy="792088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Video</a:t>
              </a:r>
              <a:endParaRPr lang="en-US" dirty="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2303748" y="4383070"/>
              <a:ext cx="1008112" cy="792088"/>
            </a:xfrm>
            <a:prstGeom prst="rect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Quiz</a:t>
              </a:r>
              <a:endParaRPr lang="en-US" dirty="0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959932" y="3427041"/>
              <a:ext cx="1008112" cy="79208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 smtClean="0"/>
                <a:t>Prepar-ation</a:t>
              </a:r>
              <a:endParaRPr lang="en-US" dirty="0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3959932" y="4390129"/>
              <a:ext cx="1008112" cy="79208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lass</a:t>
              </a:r>
              <a:endParaRPr lang="en-US" dirty="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048164" y="3429000"/>
              <a:ext cx="1008112" cy="79208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err="1" smtClean="0"/>
                <a:t>Prepar-ation</a:t>
              </a:r>
              <a:endParaRPr lang="en-US" dirty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6048164" y="4392088"/>
              <a:ext cx="1008112" cy="79208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lass</a:t>
              </a:r>
              <a:endParaRPr lang="en-US" dirty="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7524328" y="1897296"/>
              <a:ext cx="1619672" cy="1224136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Examination</a:t>
              </a:r>
              <a:endParaRPr lang="en-US" dirty="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7668344" y="3429000"/>
              <a:ext cx="1008112" cy="792088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Video</a:t>
              </a:r>
              <a:endParaRPr lang="en-US" dirty="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7668344" y="4390129"/>
              <a:ext cx="1008112" cy="792088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Written</a:t>
              </a:r>
              <a:endParaRPr lang="en-US" dirty="0"/>
            </a:p>
          </p:txBody>
        </p:sp>
      </p:grp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ucture of a cour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2636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of learning management syst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calable learning, developed by SICS Swedish IC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Easy to provide videos to stud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dd multiple-choice and free-text questions</a:t>
            </a:r>
          </a:p>
          <a:p>
            <a:pPr marL="698500" lvl="1" indent="-342900"/>
            <a:r>
              <a:rPr lang="en-US" dirty="0" smtClean="0"/>
              <a:t>Machine grad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Get individual student data on progress and difficult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Use any video material</a:t>
            </a:r>
          </a:p>
          <a:p>
            <a:pPr marL="698500" lvl="1" indent="-342900"/>
            <a:r>
              <a:rPr lang="en-US" dirty="0" smtClean="0"/>
              <a:t>eliminating need to provide own material</a:t>
            </a:r>
          </a:p>
          <a:p>
            <a:pPr marL="698500" lvl="1" indent="-342900"/>
            <a:r>
              <a:rPr lang="en-US" dirty="0" smtClean="0"/>
              <a:t>TED talks, OER, recorded television and fil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29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99" y="1577591"/>
            <a:ext cx="9109495" cy="3657599"/>
          </a:xfrm>
        </p:spPr>
      </p:pic>
    </p:spTree>
    <p:extLst>
      <p:ext uri="{BB962C8B-B14F-4D97-AF65-F5344CB8AC3E}">
        <p14:creationId xmlns:p14="http://schemas.microsoft.com/office/powerpoint/2010/main" val="4032886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547" y="1113864"/>
            <a:ext cx="8613948" cy="4533310"/>
          </a:xfrm>
        </p:spPr>
      </p:pic>
    </p:spTree>
    <p:extLst>
      <p:ext uri="{BB962C8B-B14F-4D97-AF65-F5344CB8AC3E}">
        <p14:creationId xmlns:p14="http://schemas.microsoft.com/office/powerpoint/2010/main" val="3180963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87" y="1083469"/>
            <a:ext cx="9021257" cy="4573753"/>
          </a:xfrm>
        </p:spPr>
      </p:pic>
      <p:sp>
        <p:nvSpPr>
          <p:cNvPr id="5" name="Rectangle 4"/>
          <p:cNvSpPr/>
          <p:nvPr/>
        </p:nvSpPr>
        <p:spPr>
          <a:xfrm>
            <a:off x="1879042" y="2582426"/>
            <a:ext cx="904351" cy="23111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Names of students</a:t>
            </a:r>
          </a:p>
        </p:txBody>
      </p:sp>
    </p:spTree>
    <p:extLst>
      <p:ext uri="{BB962C8B-B14F-4D97-AF65-F5344CB8AC3E}">
        <p14:creationId xmlns:p14="http://schemas.microsoft.com/office/powerpoint/2010/main" val="3360705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arning analyt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Useful data from learning management system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Learn study habits of those who success and fai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Early warning to those who run risk of fail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Indications of deficient material and inherent difficul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dapt in-class meetings to performance on preparatory material</a:t>
            </a:r>
          </a:p>
          <a:p>
            <a:r>
              <a:rPr lang="en-US" dirty="0" smtClean="0"/>
              <a:t>Risk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Sensitive with respect to personal integrity</a:t>
            </a:r>
          </a:p>
          <a:p>
            <a:pPr marL="698500" lvl="1" indent="-342900"/>
            <a:r>
              <a:rPr lang="en-US" dirty="0" smtClean="0"/>
              <a:t>Basically IQ tests run on large populations</a:t>
            </a:r>
          </a:p>
          <a:p>
            <a:r>
              <a:rPr lang="en-US" dirty="0" smtClean="0"/>
              <a:t>Mitigation of ris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Identifiable data only needed for student and teach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Random identifier for linking results across courses</a:t>
            </a:r>
          </a:p>
        </p:txBody>
      </p:sp>
    </p:spTree>
    <p:extLst>
      <p:ext uri="{BB962C8B-B14F-4D97-AF65-F5344CB8AC3E}">
        <p14:creationId xmlns:p14="http://schemas.microsoft.com/office/powerpoint/2010/main" val="4088599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tive learning at distance and sca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KTH Summer </a:t>
            </a:r>
            <a:r>
              <a:rPr lang="en-US" dirty="0"/>
              <a:t>M</a:t>
            </a:r>
            <a:r>
              <a:rPr lang="en-US" dirty="0" smtClean="0"/>
              <a:t>athematics  www.sommarmatte.se</a:t>
            </a:r>
          </a:p>
          <a:p>
            <a:pPr marL="698500" lvl="1" indent="-342900"/>
            <a:r>
              <a:rPr lang="en-US" dirty="0" smtClean="0"/>
              <a:t>Online bridging course , nationwide </a:t>
            </a:r>
          </a:p>
          <a:p>
            <a:pPr marL="698500" lvl="1" indent="-342900"/>
            <a:r>
              <a:rPr lang="en-US" dirty="0" smtClean="0"/>
              <a:t>Started in 2005; 71 000 students to date</a:t>
            </a:r>
          </a:p>
          <a:p>
            <a:pPr marL="698500" lvl="1" indent="-342900"/>
            <a:r>
              <a:rPr lang="en-US" dirty="0" smtClean="0"/>
              <a:t>For credit, students obtain financial aid</a:t>
            </a:r>
          </a:p>
          <a:p>
            <a:pPr marL="698500" lvl="1" indent="-342900"/>
            <a:r>
              <a:rPr lang="en-US" dirty="0" smtClean="0"/>
              <a:t>Throughput 50 percen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urrent project at SICS Swedish ICT on professional distance education</a:t>
            </a:r>
          </a:p>
          <a:p>
            <a:pPr marL="698500" lvl="1" indent="-342900"/>
            <a:r>
              <a:rPr lang="en-US" dirty="0" smtClean="0"/>
              <a:t>Challenges</a:t>
            </a:r>
          </a:p>
          <a:p>
            <a:pPr marL="1066800" lvl="2" indent="-342900"/>
            <a:r>
              <a:rPr lang="en-US" dirty="0" smtClean="0"/>
              <a:t>Scheduling and priorities</a:t>
            </a:r>
          </a:p>
          <a:p>
            <a:pPr marL="1419225" lvl="3" indent="-342900"/>
            <a:r>
              <a:rPr lang="en-US" dirty="0" smtClean="0"/>
              <a:t>Work tasks, family, own time</a:t>
            </a:r>
          </a:p>
          <a:p>
            <a:pPr marL="1066800" lvl="2" indent="-342900"/>
            <a:r>
              <a:rPr lang="en-US" dirty="0" smtClean="0"/>
              <a:t>Academic studies in the past</a:t>
            </a:r>
          </a:p>
          <a:p>
            <a:pPr marL="1066800" lvl="2" indent="-342900"/>
            <a:r>
              <a:rPr lang="en-US" dirty="0" smtClean="0"/>
              <a:t>Work in progress, no results y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Peer instruction requires system support</a:t>
            </a:r>
          </a:p>
          <a:p>
            <a:pPr marL="698500" lvl="1" indent="-342900"/>
            <a:r>
              <a:rPr lang="en-US" dirty="0" smtClean="0"/>
              <a:t>To group students who are in phase</a:t>
            </a:r>
          </a:p>
          <a:p>
            <a:pPr marL="698500" lvl="1" indent="-342900"/>
            <a:r>
              <a:rPr lang="en-US" dirty="0" smtClean="0"/>
              <a:t>Provide protocol to follow; control of process</a:t>
            </a:r>
          </a:p>
          <a:p>
            <a:pPr marL="698500" lvl="1" indent="-342900"/>
            <a:r>
              <a:rPr lang="en-US" dirty="0" smtClean="0"/>
              <a:t>Produce material following exercise as feedback on the different alternative answ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larity on structure, approach and purpose</a:t>
            </a:r>
          </a:p>
          <a:p>
            <a:pPr marL="698500" lvl="1" indent="-342900"/>
            <a:r>
              <a:rPr lang="en-US" dirty="0" smtClean="0"/>
              <a:t>Minimize structural uncertainty</a:t>
            </a:r>
          </a:p>
          <a:p>
            <a:pPr marL="698500" lvl="1" indent="-342900"/>
            <a:r>
              <a:rPr lang="en-US" dirty="0" smtClean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226722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597689" y="3209026"/>
            <a:ext cx="1457946" cy="1342877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Teaching</a:t>
            </a:r>
            <a:endParaRPr lang="en-US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igher education and MOOC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en-GB" smtClean="0"/>
              <a:t>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Gunnar Karlsson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509622" y="2078650"/>
            <a:ext cx="6935788" cy="3603624"/>
          </a:xfrm>
        </p:spPr>
      </p:sp>
      <p:sp>
        <p:nvSpPr>
          <p:cNvPr id="6" name="Rectangle 5"/>
          <p:cNvSpPr/>
          <p:nvPr/>
        </p:nvSpPr>
        <p:spPr>
          <a:xfrm>
            <a:off x="1597688" y="2108447"/>
            <a:ext cx="6461090" cy="934497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Examination</a:t>
            </a:r>
            <a:endParaRPr lang="en-US" b="1" dirty="0"/>
          </a:p>
        </p:txBody>
      </p:sp>
      <p:sp>
        <p:nvSpPr>
          <p:cNvPr id="8" name="Rectangle 7"/>
          <p:cNvSpPr/>
          <p:nvPr/>
        </p:nvSpPr>
        <p:spPr>
          <a:xfrm>
            <a:off x="1597688" y="4770470"/>
            <a:ext cx="6461090" cy="934497"/>
          </a:xfrm>
          <a:prstGeom prst="rect">
            <a:avLst/>
          </a:prstGeom>
          <a:solidFill>
            <a:srgbClr val="F4D66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Admission</a:t>
            </a:r>
            <a:endParaRPr lang="en-US" b="1" dirty="0"/>
          </a:p>
        </p:txBody>
      </p:sp>
      <p:sp>
        <p:nvSpPr>
          <p:cNvPr id="10" name="Rectangle 9"/>
          <p:cNvSpPr/>
          <p:nvPr/>
        </p:nvSpPr>
        <p:spPr>
          <a:xfrm>
            <a:off x="3225521" y="3209024"/>
            <a:ext cx="1557495" cy="1342877"/>
          </a:xfrm>
          <a:prstGeom prst="rect">
            <a:avLst/>
          </a:prstGeom>
          <a:solidFill>
            <a:srgbClr val="E7B4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Learning</a:t>
            </a:r>
            <a:endParaRPr lang="en-US" b="1" dirty="0"/>
          </a:p>
        </p:txBody>
      </p:sp>
      <p:sp>
        <p:nvSpPr>
          <p:cNvPr id="11" name="Rectangle 10"/>
          <p:cNvSpPr/>
          <p:nvPr/>
        </p:nvSpPr>
        <p:spPr>
          <a:xfrm>
            <a:off x="4861723" y="3209026"/>
            <a:ext cx="1557495" cy="13428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Campus</a:t>
            </a:r>
            <a:endParaRPr lang="en-US" b="1" dirty="0"/>
          </a:p>
        </p:txBody>
      </p:sp>
      <p:sp>
        <p:nvSpPr>
          <p:cNvPr id="12" name="Rectangle 11"/>
          <p:cNvSpPr/>
          <p:nvPr/>
        </p:nvSpPr>
        <p:spPr>
          <a:xfrm>
            <a:off x="6501283" y="3209025"/>
            <a:ext cx="1557495" cy="1342877"/>
          </a:xfrm>
          <a:prstGeom prst="rect">
            <a:avLst/>
          </a:prstGeom>
          <a:solidFill>
            <a:srgbClr val="B88A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Financing</a:t>
            </a:r>
            <a:endParaRPr lang="en-US" b="1" dirty="0"/>
          </a:p>
        </p:txBody>
      </p:sp>
      <p:sp>
        <p:nvSpPr>
          <p:cNvPr id="9" name="Rectangle 8"/>
          <p:cNvSpPr/>
          <p:nvPr/>
        </p:nvSpPr>
        <p:spPr>
          <a:xfrm>
            <a:off x="1949570" y="3086613"/>
            <a:ext cx="1984075" cy="1587702"/>
          </a:xfrm>
          <a:prstGeom prst="rect">
            <a:avLst/>
          </a:prstGeom>
          <a:solidFill>
            <a:srgbClr val="FFFFFF">
              <a:alpha val="5098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 smtClean="0">
                <a:solidFill>
                  <a:schemeClr val="tx1"/>
                </a:solidFill>
              </a:rPr>
              <a:t>MOOC</a:t>
            </a:r>
            <a:endParaRPr lang="en-US" sz="4400" b="1" dirty="0">
              <a:solidFill>
                <a:schemeClr val="tx1"/>
              </a:solidFill>
            </a:endParaRPr>
          </a:p>
        </p:txBody>
      </p:sp>
      <p:sp>
        <p:nvSpPr>
          <p:cNvPr id="15" name="Line Callout 1 14"/>
          <p:cNvSpPr/>
          <p:nvPr/>
        </p:nvSpPr>
        <p:spPr>
          <a:xfrm>
            <a:off x="94892" y="2208362"/>
            <a:ext cx="1086928" cy="1306190"/>
          </a:xfrm>
          <a:prstGeom prst="borderCallout1">
            <a:avLst>
              <a:gd name="adj1" fmla="val 35614"/>
              <a:gd name="adj2" fmla="val 122875"/>
              <a:gd name="adj3" fmla="val 50122"/>
              <a:gd name="adj4" fmla="val 106922"/>
            </a:avLst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GeorgiaTech</a:t>
            </a:r>
            <a:r>
              <a:rPr lang="en-US" dirty="0" smtClean="0"/>
              <a:t> </a:t>
            </a:r>
            <a:r>
              <a:rPr lang="en-US" dirty="0"/>
              <a:t>MS in C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467295" y="2004930"/>
            <a:ext cx="3352101" cy="3019244"/>
          </a:xfrm>
          <a:prstGeom prst="rect">
            <a:avLst/>
          </a:prstGeom>
          <a:solidFill>
            <a:srgbClr val="FFFFFF">
              <a:alpha val="5098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400" b="1" dirty="0" smtClean="0">
                <a:solidFill>
                  <a:schemeClr val="tx1"/>
                </a:solidFill>
              </a:rPr>
              <a:t>MOOC</a:t>
            </a:r>
            <a:endParaRPr lang="en-US" sz="5400" b="1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53129" y="3086612"/>
            <a:ext cx="2666089" cy="1683857"/>
          </a:xfrm>
          <a:prstGeom prst="rect">
            <a:avLst/>
          </a:prstGeom>
          <a:solidFill>
            <a:srgbClr val="FFFFFF">
              <a:alpha val="5098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400" b="1" dirty="0" smtClean="0">
                <a:solidFill>
                  <a:schemeClr val="tx1"/>
                </a:solidFill>
              </a:rPr>
              <a:t>College</a:t>
            </a:r>
            <a:endParaRPr lang="en-US" sz="5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758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5" grpId="0" animBg="1"/>
      <p:bldP spid="15" grpId="1" animBg="1"/>
      <p:bldP spid="13" grpId="0" animBg="1"/>
      <p:bldP spid="13" grpId="1" animBg="1"/>
      <p:bldP spid="1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5339" y="-59839"/>
            <a:ext cx="5557265" cy="6040836"/>
          </a:xfr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Imaginary view of teaching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028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rganization for MOOC-based educ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Hard to be a student without context </a:t>
            </a:r>
          </a:p>
          <a:p>
            <a:pPr marL="698500" lvl="1" indent="-342900"/>
            <a:r>
              <a:rPr lang="en-US" dirty="0"/>
              <a:t>no peer pressure, no support and no socializing</a:t>
            </a:r>
          </a:p>
          <a:p>
            <a:pPr marL="698500" lvl="1" indent="-342900"/>
            <a:r>
              <a:rPr lang="en-US" dirty="0"/>
              <a:t>where to study, when and </a:t>
            </a:r>
            <a:r>
              <a:rPr lang="en-US" dirty="0" smtClean="0"/>
              <a:t>how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My proposal: The MOOC College</a:t>
            </a:r>
          </a:p>
          <a:p>
            <a:pPr marL="698500" lvl="1" indent="-342900"/>
            <a:r>
              <a:rPr lang="en-US" dirty="0" smtClean="0"/>
              <a:t>Organize studies </a:t>
            </a:r>
          </a:p>
          <a:p>
            <a:pPr marL="698500" lvl="1" indent="-342900"/>
            <a:r>
              <a:rPr lang="en-US" dirty="0"/>
              <a:t>A</a:t>
            </a:r>
            <a:r>
              <a:rPr lang="en-US" dirty="0" smtClean="0"/>
              <a:t>ctivate students and </a:t>
            </a:r>
          </a:p>
          <a:p>
            <a:pPr marL="698500" lvl="1" indent="-342900"/>
            <a:r>
              <a:rPr lang="en-US" dirty="0" smtClean="0"/>
              <a:t>Life-long lear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Study coaches</a:t>
            </a:r>
          </a:p>
          <a:p>
            <a:pPr marL="698500" lvl="1" indent="-342900"/>
            <a:r>
              <a:rPr lang="en-US" dirty="0" smtClean="0"/>
              <a:t>Individual study plan of MOOCs</a:t>
            </a:r>
          </a:p>
          <a:p>
            <a:pPr marL="698500" lvl="1" indent="-342900"/>
            <a:r>
              <a:rPr lang="en-US" dirty="0" smtClean="0"/>
              <a:t>Organize study groups with tutors</a:t>
            </a:r>
          </a:p>
          <a:p>
            <a:pPr marL="698500" lvl="1" indent="-342900"/>
            <a:r>
              <a:rPr lang="en-US" dirty="0" smtClean="0"/>
              <a:t>Add extracurricular activities</a:t>
            </a:r>
          </a:p>
          <a:p>
            <a:pPr marL="698500" lvl="1" indent="-342900"/>
            <a:r>
              <a:rPr lang="en-US" dirty="0" smtClean="0"/>
              <a:t>Examination and certification by external partn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3071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coming societal challenge </a:t>
            </a:r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928" y="1286411"/>
            <a:ext cx="2540000" cy="386080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4973" y="1286411"/>
            <a:ext cx="3146830" cy="3793087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2328" y="1958213"/>
            <a:ext cx="3481826" cy="376373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2017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0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0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coming societal challeng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A new ne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Retraining, continuous develop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Staying ahead of the machines</a:t>
            </a:r>
          </a:p>
          <a:p>
            <a:r>
              <a:rPr lang="en-US" dirty="0" smtClean="0"/>
              <a:t>Sugges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Less initial full-time study</a:t>
            </a:r>
          </a:p>
          <a:p>
            <a:pPr marL="698500" lvl="1" indent="-342900"/>
            <a:r>
              <a:rPr lang="en-US" dirty="0" smtClean="0"/>
              <a:t>too big investment of uncertain usefulnes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Blend work and studies throughout life</a:t>
            </a:r>
          </a:p>
          <a:p>
            <a:pPr marL="698500" lvl="1" indent="-342900"/>
            <a:r>
              <a:rPr lang="en-US" dirty="0" smtClean="0"/>
              <a:t>Studies adapted to present and future work</a:t>
            </a:r>
          </a:p>
          <a:p>
            <a:pPr marL="698500" lvl="1" indent="-342900"/>
            <a:r>
              <a:rPr lang="en-US" dirty="0" smtClean="0"/>
              <a:t>Suited to situation in life </a:t>
            </a:r>
          </a:p>
          <a:p>
            <a:pPr marL="1066800" lvl="2" indent="-342900"/>
            <a:r>
              <a:rPr lang="en-US" dirty="0" smtClean="0"/>
              <a:t>for increased wellbeing</a:t>
            </a:r>
          </a:p>
          <a:p>
            <a:pPr marL="1066800" lvl="2" indent="-342900"/>
            <a:r>
              <a:rPr lang="en-US" dirty="0" smtClean="0"/>
              <a:t>applicable skills and knowledge</a:t>
            </a:r>
          </a:p>
          <a:p>
            <a:pPr marL="698500" lvl="1" indent="-342900"/>
            <a:r>
              <a:rPr lang="en-US" dirty="0" smtClean="0"/>
              <a:t>Re-certification of </a:t>
            </a:r>
          </a:p>
          <a:p>
            <a:pPr marL="1066800" lvl="2" indent="-342900"/>
            <a:r>
              <a:rPr lang="en-US" dirty="0" smtClean="0"/>
              <a:t>acquired skills and knowledge </a:t>
            </a:r>
          </a:p>
          <a:p>
            <a:pPr marL="1066800" lvl="2" indent="-342900"/>
            <a:r>
              <a:rPr lang="en-US" dirty="0" smtClean="0"/>
              <a:t>whenever needed</a:t>
            </a:r>
          </a:p>
          <a:p>
            <a:pPr marL="698500" lvl="1" indent="-342900"/>
            <a:r>
              <a:rPr lang="en-US" dirty="0" smtClean="0"/>
              <a:t>Life-long service contract with place of learn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8101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Teaching should be based on scientific knowled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ctive learning provably superior to passive teach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Substantial improvements cannot be ignored</a:t>
            </a:r>
          </a:p>
          <a:p>
            <a:r>
              <a:rPr lang="en-US" dirty="0" smtClean="0"/>
              <a:t>Flipped classroom with peer instruction works wel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Tested at scale at KTH in different subjec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Simple default to get faculty started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Open for experimentation by teachers</a:t>
            </a:r>
          </a:p>
          <a:p>
            <a:r>
              <a:rPr lang="en-US" dirty="0" smtClean="0"/>
              <a:t>Learning management systems are usefu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Self-corrected quizz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Monitoring of individual progres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Learning data for feedback  to students and teachers alike</a:t>
            </a:r>
          </a:p>
          <a:p>
            <a:r>
              <a:rPr lang="en-US" dirty="0" smtClean="0"/>
              <a:t>Distributed large-scale teaching require active lear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Important to consider students’ learning situation and environ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Socializing around lear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Peer instruction possible at distance with appropriate system suppor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697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age of automation increases need for effective lear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Skills and knowledge obsoleted by machin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Recurrent retraining might be need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Large initial investment in studying might not pay off</a:t>
            </a:r>
          </a:p>
          <a:p>
            <a:r>
              <a:rPr lang="en-US" dirty="0" smtClean="0"/>
              <a:t>Continuous learning for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staying competitive vis-à-vis machin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increased life quality and mea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o</a:t>
            </a:r>
            <a:r>
              <a:rPr lang="en-US" dirty="0" smtClean="0"/>
              <a:t>rderly democratic society and optimism about the fu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9380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hlink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hank you for your attention!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Gunnar </a:t>
            </a:r>
            <a:r>
              <a:rPr lang="en-US" dirty="0" err="1" smtClean="0"/>
              <a:t>Karlsson</a:t>
            </a:r>
            <a:endParaRPr lang="en-US" dirty="0" smtClean="0"/>
          </a:p>
          <a:p>
            <a:r>
              <a:rPr lang="en-US" dirty="0" smtClean="0"/>
              <a:t>gk@kth.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99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al view of teaching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222" y="1241618"/>
            <a:ext cx="6967724" cy="4542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027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oadcasting problem – </a:t>
            </a:r>
            <a:br>
              <a:rPr lang="en-US" dirty="0" smtClean="0"/>
            </a:br>
            <a:r>
              <a:rPr lang="en-US" dirty="0" smtClean="0"/>
              <a:t>flow control and compatibility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657" y="1400851"/>
            <a:ext cx="5715000" cy="3810000"/>
          </a:xfrm>
          <a:prstGeom prst="rect">
            <a:avLst/>
          </a:prstGeom>
        </p:spPr>
      </p:pic>
      <p:sp>
        <p:nvSpPr>
          <p:cNvPr id="6" name="Rounded Rectangular Callout 5"/>
          <p:cNvSpPr/>
          <p:nvPr/>
        </p:nvSpPr>
        <p:spPr>
          <a:xfrm>
            <a:off x="1231966" y="1854959"/>
            <a:ext cx="1182029" cy="579863"/>
          </a:xfrm>
          <a:prstGeom prst="wedgeRoundRectCallout">
            <a:avLst>
              <a:gd name="adj1" fmla="val 65960"/>
              <a:gd name="adj2" fmla="val 89424"/>
              <a:gd name="adj3" fmla="val 16667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tx1"/>
                </a:solidFill>
              </a:rPr>
              <a:t>!</a:t>
            </a:r>
            <a:endParaRPr lang="en-US" sz="2800" b="1" dirty="0" smtClean="0">
              <a:solidFill>
                <a:schemeClr val="tx1"/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4799" y="1499786"/>
            <a:ext cx="4775993" cy="3170000"/>
          </a:xfrm>
        </p:spPr>
      </p:pic>
      <p:sp>
        <p:nvSpPr>
          <p:cNvPr id="7" name="Rounded Rectangular Callout 6"/>
          <p:cNvSpPr/>
          <p:nvPr/>
        </p:nvSpPr>
        <p:spPr>
          <a:xfrm>
            <a:off x="7634868" y="1754456"/>
            <a:ext cx="1182029" cy="579863"/>
          </a:xfrm>
          <a:prstGeom prst="wedgeRoundRectCallout">
            <a:avLst>
              <a:gd name="adj1" fmla="val -30267"/>
              <a:gd name="adj2" fmla="val 154808"/>
              <a:gd name="adj3" fmla="val 16667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Zzzz</a:t>
            </a:r>
          </a:p>
        </p:txBody>
      </p:sp>
    </p:spTree>
    <p:extLst>
      <p:ext uri="{BB962C8B-B14F-4D97-AF65-F5344CB8AC3E}">
        <p14:creationId xmlns:p14="http://schemas.microsoft.com/office/powerpoint/2010/main" val="1740236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blem: Asynchrony 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041" y="1172817"/>
            <a:ext cx="3551583" cy="2663687"/>
          </a:xfrm>
          <a:prstGeom prst="rect">
            <a:avLst/>
          </a:prstGeom>
        </p:spPr>
      </p:pic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694" y="2504661"/>
            <a:ext cx="3043341" cy="3419062"/>
          </a:xfrm>
          <a:effectLst/>
        </p:spPr>
      </p:pic>
      <p:sp>
        <p:nvSpPr>
          <p:cNvPr id="8" name="Cloud Callout 7"/>
          <p:cNvSpPr/>
          <p:nvPr/>
        </p:nvSpPr>
        <p:spPr>
          <a:xfrm>
            <a:off x="877078" y="2313992"/>
            <a:ext cx="1604865" cy="1287624"/>
          </a:xfrm>
          <a:prstGeom prst="cloudCallout">
            <a:avLst>
              <a:gd name="adj1" fmla="val 55483"/>
              <a:gd name="adj2" fmla="val 66848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solidFill>
                  <a:schemeClr val="tx1"/>
                </a:solidFill>
              </a:rPr>
              <a:t>???</a:t>
            </a:r>
          </a:p>
        </p:txBody>
      </p:sp>
    </p:spTree>
    <p:extLst>
      <p:ext uri="{BB962C8B-B14F-4D97-AF65-F5344CB8AC3E}">
        <p14:creationId xmlns:p14="http://schemas.microsoft.com/office/powerpoint/2010/main" val="3736196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7169" y="3801769"/>
            <a:ext cx="1906065" cy="207192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chnology-enhanced learning</a:t>
            </a: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2120202" y="3621882"/>
            <a:ext cx="5761596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7430392" y="2868695"/>
            <a:ext cx="9028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MOOC</a:t>
            </a:r>
            <a:endParaRPr lang="en-US" b="1" dirty="0"/>
          </a:p>
        </p:txBody>
      </p:sp>
      <p:sp>
        <p:nvSpPr>
          <p:cNvPr id="11" name="Content Placeholder 10"/>
          <p:cNvSpPr txBox="1">
            <a:spLocks noGrp="1"/>
          </p:cNvSpPr>
          <p:nvPr>
            <p:ph idx="1"/>
          </p:nvPr>
        </p:nvSpPr>
        <p:spPr>
          <a:xfrm>
            <a:off x="1763533" y="2969810"/>
            <a:ext cx="7133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YOPS</a:t>
            </a:r>
            <a:endParaRPr lang="en-US" b="1" dirty="0"/>
          </a:p>
        </p:txBody>
      </p:sp>
      <p:sp>
        <p:nvSpPr>
          <p:cNvPr id="13" name="Down Arrow Callout 12"/>
          <p:cNvSpPr/>
          <p:nvPr/>
        </p:nvSpPr>
        <p:spPr>
          <a:xfrm>
            <a:off x="874208" y="1708220"/>
            <a:ext cx="2199026" cy="1160475"/>
          </a:xfrm>
          <a:prstGeom prst="downArrowCallou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accent2">
                    <a:lumMod val="50000"/>
                  </a:scheme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Your Own Private Socrates</a:t>
            </a:r>
          </a:p>
        </p:txBody>
      </p:sp>
      <p:sp>
        <p:nvSpPr>
          <p:cNvPr id="14" name="Down Arrow Callout 13"/>
          <p:cNvSpPr/>
          <p:nvPr/>
        </p:nvSpPr>
        <p:spPr>
          <a:xfrm>
            <a:off x="3225634" y="1729992"/>
            <a:ext cx="2199026" cy="1160475"/>
          </a:xfrm>
          <a:prstGeom prst="downArrowCallout">
            <a:avLst/>
          </a:prstGeom>
          <a:solidFill>
            <a:schemeClr val="bg1">
              <a:lumMod val="85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0000"/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ny point: Tradeoff of cost vs coaching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209926" y="1522556"/>
            <a:ext cx="2731716" cy="3613278"/>
            <a:chOff x="6209926" y="1522556"/>
            <a:chExt cx="2731716" cy="361327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10126" y="4089680"/>
              <a:ext cx="1046154" cy="1046154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22253" y="3883140"/>
              <a:ext cx="1776414" cy="461963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7193" y="2172403"/>
              <a:ext cx="1714158" cy="755650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09926" y="4345103"/>
              <a:ext cx="1600200" cy="790575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55692" y="1522556"/>
              <a:ext cx="1885950" cy="762000"/>
            </a:xfrm>
            <a:prstGeom prst="rect">
              <a:avLst/>
            </a:prstGeom>
          </p:spPr>
        </p:pic>
      </p:grpSp>
      <p:sp>
        <p:nvSpPr>
          <p:cNvPr id="8" name="Donut 7"/>
          <p:cNvSpPr/>
          <p:nvPr/>
        </p:nvSpPr>
        <p:spPr>
          <a:xfrm>
            <a:off x="7578769" y="3330480"/>
            <a:ext cx="599782" cy="582804"/>
          </a:xfrm>
          <a:prstGeom prst="donu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61759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33 -2.84062E-6 L -0.63298 -0.00185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823" y="-9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63298 -0.00185 L -0.38455 -0.00509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413" y="-1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/>
      <p:bldP spid="13" grpId="0" animBg="1"/>
      <p:bldP spid="13" grpId="1" animBg="1"/>
      <p:bldP spid="14" grpId="0" animBg="1"/>
      <p:bldP spid="8" grpId="0" animBg="1"/>
      <p:bldP spid="8" grpI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 of remaind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The case for active lear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eer instruc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Flipped classroo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Experiences at KT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Structure of a flipped course with peer instruc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Learning management tool and learning analytic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ctive learning at distance and sca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 proposal for an undergraduate MOOC Colle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 reason why education must impro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onclus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923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ase for active learn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9250" y="3838469"/>
            <a:ext cx="6935788" cy="1822555"/>
          </a:xfrm>
        </p:spPr>
        <p:txBody>
          <a:bodyPr>
            <a:normAutofit/>
          </a:bodyPr>
          <a:lstStyle/>
          <a:p>
            <a:r>
              <a:rPr lang="en-US" i="1" dirty="0" smtClean="0"/>
              <a:t>“active </a:t>
            </a:r>
            <a:r>
              <a:rPr lang="en-US" i="1" dirty="0"/>
              <a:t>learning leads to increases in examination performance that would </a:t>
            </a:r>
            <a:r>
              <a:rPr lang="en-US" b="1" i="1" dirty="0">
                <a:solidFill>
                  <a:srgbClr val="FF0000"/>
                </a:solidFill>
              </a:rPr>
              <a:t>raise average grades by a half a letter</a:t>
            </a:r>
            <a:r>
              <a:rPr lang="en-US" i="1" dirty="0"/>
              <a:t>, and that </a:t>
            </a:r>
            <a:r>
              <a:rPr lang="en-US" b="1" i="1" dirty="0">
                <a:solidFill>
                  <a:srgbClr val="FF0000"/>
                </a:solidFill>
              </a:rPr>
              <a:t>failure rates under traditional lecturing increase by 55% </a:t>
            </a:r>
            <a:r>
              <a:rPr lang="en-US" i="1" dirty="0"/>
              <a:t>over the rates observed under active learning</a:t>
            </a:r>
            <a:r>
              <a:rPr lang="en-US" i="1" dirty="0" smtClean="0"/>
              <a:t>.”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933" y="1109561"/>
            <a:ext cx="8490857" cy="2377441"/>
          </a:xfrm>
          <a:prstGeom prst="rect">
            <a:avLst/>
          </a:prstGeom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7" name="Ink 6"/>
              <p14:cNvContentPartPr/>
              <p14:nvPr/>
            </p14:nvContentPartPr>
            <p14:xfrm>
              <a:off x="2311604" y="3235106"/>
              <a:ext cx="1708200" cy="62640"/>
            </p14:xfrm>
          </p:contentPart>
        </mc:Choice>
        <mc:Fallback xmlns="">
          <p:pic>
            <p:nvPicPr>
              <p:cNvPr id="7" name="Ink 6"/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263364" y="3139346"/>
                <a:ext cx="1804320" cy="2541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937960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eer instruction to activate the clas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9250" y="3386295"/>
            <a:ext cx="6935788" cy="2441749"/>
          </a:xfrm>
        </p:spPr>
        <p:txBody>
          <a:bodyPr>
            <a:normAutofit fontScale="925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Ask a question, let them think</a:t>
            </a:r>
          </a:p>
          <a:p>
            <a:pPr marL="698500" lvl="1" indent="-342900"/>
            <a:r>
              <a:rPr lang="en-US" dirty="0" smtClean="0"/>
              <a:t>Take answers by clickers, hands in the air, colored cards</a:t>
            </a:r>
          </a:p>
          <a:p>
            <a:pPr marL="698500" lvl="1" indent="-342900"/>
            <a:r>
              <a:rPr lang="en-US" dirty="0" smtClean="0"/>
              <a:t>Do not give any feedbac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Let students work two-by-two</a:t>
            </a:r>
          </a:p>
          <a:p>
            <a:pPr marL="698500" lvl="1" indent="-342900"/>
            <a:r>
              <a:rPr lang="en-US" dirty="0" smtClean="0"/>
              <a:t>New answ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ompare the outcomes of the two rounds of answers and discuss the ques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969" y="1310301"/>
            <a:ext cx="7135221" cy="1705213"/>
          </a:xfrm>
          <a:prstGeom prst="rect">
            <a:avLst/>
          </a:prstGeom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7" name="Ink 6"/>
              <p14:cNvContentPartPr/>
              <p14:nvPr/>
            </p14:nvContentPartPr>
            <p14:xfrm>
              <a:off x="6511364" y="2712746"/>
              <a:ext cx="1667880" cy="45720"/>
            </p14:xfrm>
          </p:contentPart>
        </mc:Choice>
        <mc:Fallback xmlns="">
          <p:pic>
            <p:nvPicPr>
              <p:cNvPr id="7" name="Ink 6"/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463484" y="2616626"/>
                <a:ext cx="1764000" cy="237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8" name="Ink 7"/>
              <p14:cNvContentPartPr/>
              <p14:nvPr/>
            </p14:nvContentPartPr>
            <p14:xfrm>
              <a:off x="1788524" y="2802746"/>
              <a:ext cx="6140160" cy="161280"/>
            </p14:xfrm>
          </p:contentPart>
        </mc:Choice>
        <mc:Fallback xmlns="">
          <p:pic>
            <p:nvPicPr>
              <p:cNvPr id="8" name="Ink 7"/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740644" y="2706626"/>
                <a:ext cx="6235920" cy="3531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736094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20</Words>
  <Application>Microsoft Office PowerPoint</Application>
  <PresentationFormat>Bildschirmpräsentation (4:3)</PresentationFormat>
  <Paragraphs>190</Paragraphs>
  <Slides>25</Slides>
  <Notes>2</Notes>
  <HiddenSlides>1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27" baseType="lpstr">
      <vt:lpstr>Template_KTH_with colours and grafs</vt:lpstr>
      <vt:lpstr>think-cell Slide</vt:lpstr>
      <vt:lpstr>Lectures flop, so flip  the classroom</vt:lpstr>
      <vt:lpstr>Imaginary view of teaching</vt:lpstr>
      <vt:lpstr>Real view of teaching</vt:lpstr>
      <vt:lpstr>Broadcasting problem –  flow control and compatibility</vt:lpstr>
      <vt:lpstr>Problem: Asynchrony </vt:lpstr>
      <vt:lpstr>Technology-enhanced learning</vt:lpstr>
      <vt:lpstr>Outline of remainder</vt:lpstr>
      <vt:lpstr>The case for active learning</vt:lpstr>
      <vt:lpstr>Peer instruction to activate the class</vt:lpstr>
      <vt:lpstr>Using online material: Flipped classroom and peer instruction</vt:lpstr>
      <vt:lpstr>Active learning at KTH</vt:lpstr>
      <vt:lpstr>Structure of a course</vt:lpstr>
      <vt:lpstr>Use of learning management system</vt:lpstr>
      <vt:lpstr>PowerPoint-Präsentation</vt:lpstr>
      <vt:lpstr>PowerPoint-Präsentation</vt:lpstr>
      <vt:lpstr>PowerPoint-Präsentation</vt:lpstr>
      <vt:lpstr>Learning analytics</vt:lpstr>
      <vt:lpstr>Active learning at distance and scale</vt:lpstr>
      <vt:lpstr>Higher education and MOOCs</vt:lpstr>
      <vt:lpstr>Organization for MOOC-based education</vt:lpstr>
      <vt:lpstr>A coming societal challenge </vt:lpstr>
      <vt:lpstr>A coming societal challenge</vt:lpstr>
      <vt:lpstr>Conclusion</vt:lpstr>
      <vt:lpstr>Conclusion</vt:lpstr>
      <vt:lpstr>Thank you for your attention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Annika Hansson</dc:creator>
  <cp:lastModifiedBy>dkaiser</cp:lastModifiedBy>
  <cp:revision>64</cp:revision>
  <cp:lastPrinted>2015-03-10T16:44:46Z</cp:lastPrinted>
  <dcterms:created xsi:type="dcterms:W3CDTF">2014-01-30T09:56:50Z</dcterms:created>
  <dcterms:modified xsi:type="dcterms:W3CDTF">2015-07-08T15:55:40Z</dcterms:modified>
</cp:coreProperties>
</file>